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000744710211896</c:v>
                </c:pt>
                <c:pt idx="1">
                  <c:v>21.259044820762952</c:v>
                </c:pt>
                <c:pt idx="2">
                  <c:v>22.533077179350411</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7.988824000000001</c:v>
                </c:pt>
                <c:pt idx="1">
                  <c:v>8.0994910000000004</c:v>
                </c:pt>
                <c:pt idx="2">
                  <c:v>6.0965719999999983</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9.989568710211895</c:v>
                </c:pt>
                <c:pt idx="1">
                  <c:v>29.358535820762953</c:v>
                </c:pt>
                <c:pt idx="2">
                  <c:v>28.629649179350409</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2.33118202660145</c:v>
                </c:pt>
                <c:pt idx="1">
                  <c:v>247.73431922878837</c:v>
                </c:pt>
                <c:pt idx="2">
                  <c:v>260.797785480812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0721927317272364</c:v>
                </c:pt>
                <c:pt idx="1">
                  <c:v>439.48755526445063</c:v>
                </c:pt>
                <c:pt idx="2">
                  <c:v>434.13983952840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0.40337475832871</c:v>
                </c:pt>
                <c:pt idx="1">
                  <c:v>687.22187449323906</c:v>
                </c:pt>
                <c:pt idx="2">
                  <c:v>694.937625009222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260.79778548081208</c:v>
                </c:pt>
                <c:pt idx="2">
                  <c:v>78.01194104231989</c:v>
                </c:pt>
                <c:pt idx="3">
                  <c:v>75.400468711847097</c:v>
                </c:pt>
                <c:pt idx="4">
                  <c:v>91.320649474799254</c:v>
                </c:pt>
                <c:pt idx="5">
                  <c:v>72.219975301638499</c:v>
                </c:pt>
                <c:pt idx="7">
                  <c:v>79.238258632651181</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434.13983952840999</c:v>
                </c:pt>
                <c:pt idx="2">
                  <c:v>73.380267805799718</c:v>
                </c:pt>
                <c:pt idx="3">
                  <c:v>119.47566655958882</c:v>
                </c:pt>
                <c:pt idx="4">
                  <c:v>142.42529840583194</c:v>
                </c:pt>
                <c:pt idx="5">
                  <c:v>40.180320910094238</c:v>
                </c:pt>
                <c:pt idx="7">
                  <c:v>93.865388420328671</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694.93762500922207</c:v>
                </c:pt>
                <c:pt idx="2">
                  <c:v>151.39220884811959</c:v>
                </c:pt>
                <c:pt idx="3">
                  <c:v>194.87613527143591</c:v>
                </c:pt>
                <c:pt idx="4">
                  <c:v>233.74594788063118</c:v>
                </c:pt>
                <c:pt idx="5">
                  <c:v>112.40029621173272</c:v>
                </c:pt>
                <c:pt idx="7">
                  <c:v>173.10364705297985</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2090393239157349</c:v>
                </c:pt>
                <c:pt idx="2">
                  <c:v>3.0508026669010073</c:v>
                </c:pt>
                <c:pt idx="3">
                  <c:v>3.0561706676131872</c:v>
                </c:pt>
                <c:pt idx="4">
                  <c:v>3.1246709750604218</c:v>
                </c:pt>
                <c:pt idx="6">
                  <c:v>8.3937279750604219</c:v>
                </c:pt>
                <c:pt idx="7">
                  <c:v>8.3955447627598012</c:v>
                </c:pt>
                <c:pt idx="8">
                  <c:v>8.405108837100709</c:v>
                </c:pt>
                <c:pt idx="9">
                  <c:v>8.487968151862638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1101953239157347</c:v>
                </c:pt>
                <c:pt idx="5">
                  <c:v>3.0258269750604212</c:v>
                </c:pt>
                <c:pt idx="10">
                  <c:v>3.185384151862638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84176334298527222</c:v>
                </c:pt>
                <c:pt idx="2">
                  <c:v>5.3680007121799031E-3</c:v>
                </c:pt>
                <c:pt idx="3">
                  <c:v>6.8500307447234371E-2</c:v>
                </c:pt>
                <c:pt idx="6">
                  <c:v>1.8167876993800559E-3</c:v>
                </c:pt>
                <c:pt idx="7">
                  <c:v>9.564074340907119E-3</c:v>
                </c:pt>
                <c:pt idx="8">
                  <c:v>0.1481763147619305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9.8844000000000001E-2</c:v>
                </c:pt>
                <c:pt idx="5">
                  <c:v>5.3679009999999998</c:v>
                </c:pt>
                <c:pt idx="10">
                  <c:v>5.3025840000000004</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5.269057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6.5316999999999403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2090393239157349</c:v>
                </c:pt>
                <c:pt idx="5">
                  <c:v>8.3937279750604219</c:v>
                </c:pt>
                <c:pt idx="10">
                  <c:v>8.487968151862638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Re-integratie klassiek</c:v>
                </c:pt>
                <c:pt idx="2">
                  <c:v>Huishoudens laag inkomen (drempel)</c:v>
                </c:pt>
                <c:pt idx="3">
                  <c:v>Inwoners</c:v>
                </c:pt>
                <c:pt idx="4">
                  <c:v>Klantenpotentieel regionaal</c:v>
                </c:pt>
                <c:pt idx="5">
                  <c:v>Eenpersoonshuishoudens</c:v>
                </c:pt>
                <c:pt idx="6">
                  <c:v>Omgevingsadressendichtheid</c:v>
                </c:pt>
                <c:pt idx="7">
                  <c:v>Loonkostensubsidie</c:v>
                </c:pt>
                <c:pt idx="10">
                  <c:v>Overig</c:v>
                </c:pt>
              </c:strCache>
            </c:strRef>
          </c:cat>
          <c:val>
            <c:numRef>
              <c:f>Sheet1!$B$2:$B$12</c:f>
              <c:numCache>
                <c:formatCode>General</c:formatCode>
                <c:ptCount val="11"/>
                <c:pt idx="0">
                  <c:v>1.4407663961599988</c:v>
                </c:pt>
                <c:pt idx="1">
                  <c:v>0.89617882178968011</c:v>
                </c:pt>
                <c:pt idx="2">
                  <c:v>0.50182947609600004</c:v>
                </c:pt>
                <c:pt idx="3">
                  <c:v>0.15081749488000001</c:v>
                </c:pt>
                <c:pt idx="4">
                  <c:v>0.11024516360000002</c:v>
                </c:pt>
                <c:pt idx="5">
                  <c:v>6.3210920760000011E-2</c:v>
                </c:pt>
                <c:pt idx="6">
                  <c:v>1.6035505536960003E-2</c:v>
                </c:pt>
                <c:pt idx="7">
                  <c:v>6.3003730400000004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5.1834670000000003</c:v>
                </c:pt>
                <c:pt idx="1">
                  <c:v>9.5347000000000001E-2</c:v>
                </c:pt>
                <c:pt idx="2">
                  <c:v>2.3769999999999999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33700853824986665</c:v>
                </c:pt>
                <c:pt idx="1">
                  <c:v>0.34935559325983334</c:v>
                </c:pt>
                <c:pt idx="2">
                  <c:v>0.3827287738709065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4253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33700853824986665</c:v>
                </c:pt>
                <c:pt idx="1">
                  <c:v>0.34935559325983334</c:v>
                </c:pt>
                <c:pt idx="2">
                  <c:v>0.3969827738709065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7.522134605950725</c:v>
                </c:pt>
                <c:pt idx="1">
                  <c:v>28.602881386919382</c:v>
                </c:pt>
                <c:pt idx="2">
                  <c:v>31.33525248656513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7021450794170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522134605950725</c:v>
                </c:pt>
                <c:pt idx="1">
                  <c:v>28.602881386919382</c:v>
                </c:pt>
                <c:pt idx="2">
                  <c:v>32.5022739373593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31.335252486565139</c:v>
                </c:pt>
                <c:pt idx="2">
                  <c:v>22.90304378880802</c:v>
                </c:pt>
                <c:pt idx="3">
                  <c:v>21.978625282595569</c:v>
                </c:pt>
                <c:pt idx="4">
                  <c:v>23.360721384919223</c:v>
                </c:pt>
                <c:pt idx="5">
                  <c:v>22.438092669335816</c:v>
                </c:pt>
                <c:pt idx="7">
                  <c:v>22.67012078141466</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1.1670214507941705</c:v>
                </c:pt>
                <c:pt idx="2">
                  <c:v>1.1622443111804814</c:v>
                </c:pt>
                <c:pt idx="3">
                  <c:v>1.1582878252489559</c:v>
                </c:pt>
                <c:pt idx="4">
                  <c:v>1.1581350636866139</c:v>
                </c:pt>
                <c:pt idx="5">
                  <c:v>1.139061040835385</c:v>
                </c:pt>
                <c:pt idx="7">
                  <c:v>1.154432060237859</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32.502273937359305</c:v>
                </c:pt>
                <c:pt idx="2">
                  <c:v>24.0652880999885</c:v>
                </c:pt>
                <c:pt idx="3">
                  <c:v>23.136913107844524</c:v>
                </c:pt>
                <c:pt idx="4">
                  <c:v>24.518856448605835</c:v>
                </c:pt>
                <c:pt idx="5">
                  <c:v>23.577153710171203</c:v>
                </c:pt>
                <c:pt idx="7">
                  <c:v>23.824552841652515</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23360459506680986</c:v>
                </c:pt>
                <c:pt idx="2">
                  <c:v>-0.75100807342586196</c:v>
                </c:pt>
                <c:pt idx="3">
                  <c:v>-0.75100807342586196</c:v>
                </c:pt>
                <c:pt idx="4">
                  <c:v>0.34935559325983334</c:v>
                </c:pt>
                <c:pt idx="6">
                  <c:v>0.34935559325983334</c:v>
                </c:pt>
                <c:pt idx="7">
                  <c:v>0.349409805135871</c:v>
                </c:pt>
                <c:pt idx="8">
                  <c:v>0.36528325632027525</c:v>
                </c:pt>
                <c:pt idx="9">
                  <c:v>0.3827287738709065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33700853824986665</c:v>
                </c:pt>
                <c:pt idx="5">
                  <c:v>0.34935559325983334</c:v>
                </c:pt>
                <c:pt idx="10">
                  <c:v>0.3827287738709065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1.1003636666856953</c:v>
                </c:pt>
                <c:pt idx="6">
                  <c:v>5.4211876037643929E-5</c:v>
                </c:pt>
                <c:pt idx="7">
                  <c:v>1.5873451184404273E-2</c:v>
                </c:pt>
                <c:pt idx="8">
                  <c:v>1.744551755063133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57061313331667651</c:v>
                </c:pt>
                <c:pt idx="2">
                  <c:v>0.51740347835905209</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1.4253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4253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33700853824986665</c:v>
                </c:pt>
                <c:pt idx="5">
                  <c:v>0.34935559325983334</c:v>
                </c:pt>
                <c:pt idx="10">
                  <c:v>0.3969827738709065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uishoudens met laag inkomen (drempel)</c:v>
                </c:pt>
                <c:pt idx="1">
                  <c:v>Jongeren</c:v>
                </c:pt>
                <c:pt idx="2">
                  <c:v>Inwoners</c:v>
                </c:pt>
                <c:pt idx="3">
                  <c:v>Bijstandsontvangers</c:v>
                </c:pt>
                <c:pt idx="4">
                  <c:v>Eenouderhuishoudens</c:v>
                </c:pt>
                <c:pt idx="5">
                  <c:v>Uitkeringsontvangers</c:v>
                </c:pt>
                <c:pt idx="6">
                  <c:v>Klantenpotentieel regionaal</c:v>
                </c:pt>
                <c:pt idx="7">
                  <c:v>Huishoudens</c:v>
                </c:pt>
                <c:pt idx="8">
                  <c:v>Minderheden</c:v>
                </c:pt>
                <c:pt idx="9">
                  <c:v>Omgevingsadressendichtheid</c:v>
                </c:pt>
                <c:pt idx="10">
                  <c:v>Overig</c:v>
                </c:pt>
              </c:strCache>
            </c:strRef>
          </c:cat>
          <c:val>
            <c:numRef>
              <c:f>Sheet1!$B$2:$B$12</c:f>
              <c:numCache>
                <c:formatCode>General</c:formatCode>
                <c:ptCount val="11"/>
                <c:pt idx="0">
                  <c:v>8.1175077775999999E-2</c:v>
                </c:pt>
                <c:pt idx="1">
                  <c:v>6.2017831199999998E-2</c:v>
                </c:pt>
                <c:pt idx="2">
                  <c:v>5.8476234960000012E-2</c:v>
                </c:pt>
                <c:pt idx="3">
                  <c:v>3.935287477333331E-2</c:v>
                </c:pt>
                <c:pt idx="4">
                  <c:v>3.2373118960000002E-2</c:v>
                </c:pt>
                <c:pt idx="5">
                  <c:v>2.0257574133333296E-2</c:v>
                </c:pt>
                <c:pt idx="6">
                  <c:v>1.6492371999999998E-2</c:v>
                </c:pt>
                <c:pt idx="7">
                  <c:v>1.6463678400000001E-2</c:v>
                </c:pt>
                <c:pt idx="8">
                  <c:v>1.15231402E-2</c:v>
                </c:pt>
                <c:pt idx="9">
                  <c:v>1.1432721540240002E-2</c:v>
                </c:pt>
                <c:pt idx="10">
                  <c:v>3.3164149927999986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80.05265089521401</c:v>
                </c:pt>
                <c:pt idx="1">
                  <c:v>1740.5473080696702</c:v>
                </c:pt>
                <c:pt idx="2">
                  <c:v>1844.8564908588839</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69.0750510412413</c:v>
                </c:pt>
                <c:pt idx="1">
                  <c:v>663.13173407565091</c:v>
                </c:pt>
                <c:pt idx="2">
                  <c:v>499.14622564270496</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49.1277019364552</c:v>
                </c:pt>
                <c:pt idx="1">
                  <c:v>2403.6790421453211</c:v>
                </c:pt>
                <c:pt idx="2">
                  <c:v>2344.00271650158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1.4253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49024794390293325</c:v>
                </c:pt>
                <c:pt idx="1">
                  <c:v>4.221462153138634</c:v>
                </c:pt>
                <c:pt idx="2">
                  <c:v>4.323900466080962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64741899999999997</c:v>
                </c:pt>
                <c:pt idx="2">
                  <c:v>0.46344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49024794390293325</c:v>
                </c:pt>
                <c:pt idx="1">
                  <c:v>4.8688811531386342</c:v>
                </c:pt>
                <c:pt idx="2">
                  <c:v>4.787345466080962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0.01858290811367</c:v>
                </c:pt>
                <c:pt idx="1">
                  <c:v>1901.5595284408259</c:v>
                </c:pt>
                <c:pt idx="2">
                  <c:v>1947.702912649082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91.63018018018016</c:v>
                </c:pt>
                <c:pt idx="2">
                  <c:v>208.7590090090090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0.01858290811367</c:v>
                </c:pt>
                <c:pt idx="1">
                  <c:v>2193.189708621006</c:v>
                </c:pt>
                <c:pt idx="2">
                  <c:v>2156.46192165809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1947.7029126490822</c:v>
                </c:pt>
                <c:pt idx="2">
                  <c:v>1012.4351579861211</c:v>
                </c:pt>
                <c:pt idx="3">
                  <c:v>1184.0227245684002</c:v>
                </c:pt>
                <c:pt idx="4">
                  <c:v>1213.7270248331861</c:v>
                </c:pt>
                <c:pt idx="5">
                  <c:v>920.05582114071171</c:v>
                </c:pt>
                <c:pt idx="7">
                  <c:v>1082.5601821321047</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208.75900900900902</c:v>
                </c:pt>
                <c:pt idx="2">
                  <c:v>129.08327024981074</c:v>
                </c:pt>
                <c:pt idx="3">
                  <c:v>207.65391879131255</c:v>
                </c:pt>
                <c:pt idx="4">
                  <c:v>327.64670400689357</c:v>
                </c:pt>
                <c:pt idx="5">
                  <c:v>185.62169197396963</c:v>
                </c:pt>
                <c:pt idx="7">
                  <c:v>212.50139625549664</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2156.4619216580913</c:v>
                </c:pt>
                <c:pt idx="2">
                  <c:v>1141.5184282359319</c:v>
                </c:pt>
                <c:pt idx="3">
                  <c:v>1391.6766433597129</c:v>
                </c:pt>
                <c:pt idx="4">
                  <c:v>1541.3737288400794</c:v>
                </c:pt>
                <c:pt idx="5">
                  <c:v>1105.6775131146812</c:v>
                </c:pt>
                <c:pt idx="7">
                  <c:v>1295.0615783876012</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44095516587349654</c:v>
                </c:pt>
                <c:pt idx="2">
                  <c:v>0.44095516587349654</c:v>
                </c:pt>
                <c:pt idx="3">
                  <c:v>4.1949349023609024</c:v>
                </c:pt>
                <c:pt idx="4">
                  <c:v>4.221462153138634</c:v>
                </c:pt>
                <c:pt idx="6">
                  <c:v>4.8684097065384906</c:v>
                </c:pt>
                <c:pt idx="7">
                  <c:v>4.7745578085453548</c:v>
                </c:pt>
                <c:pt idx="8">
                  <c:v>4.7745578085453548</c:v>
                </c:pt>
                <c:pt idx="9">
                  <c:v>4.787345466080963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49024794390293325</c:v>
                </c:pt>
                <c:pt idx="5">
                  <c:v>4.221462153138634</c:v>
                </c:pt>
                <c:pt idx="10">
                  <c:v>4.323900466080962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7539797364874055</c:v>
                </c:pt>
                <c:pt idx="3">
                  <c:v>2.6527250777731711E-2</c:v>
                </c:pt>
                <c:pt idx="8">
                  <c:v>0.1967616575356084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9292778029436705E-2</c:v>
                </c:pt>
                <c:pt idx="6">
                  <c:v>4.7144660014404241E-4</c:v>
                </c:pt>
                <c:pt idx="7">
                  <c:v>9.3851897993136132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64741899999999997</c:v>
                </c:pt>
                <c:pt idx="10">
                  <c:v>0.463445</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64741899999999997</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18397399999999997</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49024794390293325</c:v>
                </c:pt>
                <c:pt idx="5">
                  <c:v>4.8688811531386342</c:v>
                </c:pt>
                <c:pt idx="10">
                  <c:v>4.787345466080962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oudens)</c:v>
                </c:pt>
                <c:pt idx="3">
                  <c:v>Ouders lang psychisch medicijngebruik</c:v>
                </c:pt>
                <c:pt idx="4">
                  <c:v>Eenouderhuishoudens</c:v>
                </c:pt>
                <c:pt idx="5">
                  <c:v>Gem. gestand. inkomen (huish. kinderen)</c:v>
                </c:pt>
                <c:pt idx="6">
                  <c:v>Bijstandsont. eenouderhuishoudens</c:v>
                </c:pt>
                <c:pt idx="7">
                  <c:v>Eenouderhuishoudens 2 of meer kinderen</c:v>
                </c:pt>
                <c:pt idx="8">
                  <c:v>BO leerlingen, leerlingengewicht 0,3</c:v>
                </c:pt>
                <c:pt idx="9">
                  <c:v>BO leerlingen, leerlingengewicht 1,2</c:v>
                </c:pt>
                <c:pt idx="10">
                  <c:v>Overig</c:v>
                </c:pt>
              </c:strCache>
            </c:strRef>
          </c:cat>
          <c:val>
            <c:numRef>
              <c:f>Sheet1!$B$2:$B$12</c:f>
              <c:numCache>
                <c:formatCode>General</c:formatCode>
                <c:ptCount val="11"/>
                <c:pt idx="0">
                  <c:v>1.8252137592</c:v>
                </c:pt>
                <c:pt idx="1">
                  <c:v>1.6873724774400003</c:v>
                </c:pt>
                <c:pt idx="2">
                  <c:v>-0.54507216920000001</c:v>
                </c:pt>
                <c:pt idx="3">
                  <c:v>0.5162321790325336</c:v>
                </c:pt>
                <c:pt idx="4">
                  <c:v>0.51377394796000009</c:v>
                </c:pt>
                <c:pt idx="5">
                  <c:v>-0.44279543271599997</c:v>
                </c:pt>
                <c:pt idx="6">
                  <c:v>0.34189778480000088</c:v>
                </c:pt>
                <c:pt idx="7">
                  <c:v>0.27318937984000002</c:v>
                </c:pt>
                <c:pt idx="8">
                  <c:v>-0.21540975456000003</c:v>
                </c:pt>
                <c:pt idx="9">
                  <c:v>-0.19723856516000002</c:v>
                </c:pt>
                <c:pt idx="10">
                  <c:v>0.56673685944442775</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Voogdij 18 plus</c:v>
                </c:pt>
                <c:pt idx="1">
                  <c:v>Suppletie uitkering IUSD</c:v>
                </c:pt>
                <c:pt idx="2">
                  <c:v>Transformatiefonds SD Jeugd</c:v>
                </c:pt>
              </c:strCache>
            </c:strRef>
          </c:cat>
          <c:val>
            <c:numRef>
              <c:f>Sheet1!$B$2:$B$12</c:f>
              <c:numCache>
                <c:formatCode>General</c:formatCode>
                <c:ptCount val="11"/>
                <c:pt idx="0">
                  <c:v>0.45717799999999997</c:v>
                </c:pt>
                <c:pt idx="1">
                  <c:v>6.267E-3</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183898588954672</c:v>
                </c:pt>
                <c:pt idx="1">
                  <c:v>6.1313374313793547</c:v>
                </c:pt>
                <c:pt idx="2">
                  <c:v>6.651392105796627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12371</c:v>
                </c:pt>
                <c:pt idx="1">
                  <c:v>-2.0639999999999999E-3</c:v>
                </c:pt>
                <c:pt idx="2">
                  <c:v>9.4800000000000006E-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307608588954673</c:v>
                </c:pt>
                <c:pt idx="1">
                  <c:v>6.1292734313793549</c:v>
                </c:pt>
                <c:pt idx="2">
                  <c:v>6.660872105796627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8.50060097145504</c:v>
                </c:pt>
                <c:pt idx="1">
                  <c:v>501.99258485175653</c:v>
                </c:pt>
                <c:pt idx="2">
                  <c:v>544.5711565250227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15.34267047774603</c:v>
                </c:pt>
                <c:pt idx="1">
                  <c:v>-0.16898640903880793</c:v>
                </c:pt>
                <c:pt idx="2">
                  <c:v>0.7761585066317340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63.8432714492011</c:v>
                </c:pt>
                <c:pt idx="1">
                  <c:v>501.82359844271775</c:v>
                </c:pt>
                <c:pt idx="2">
                  <c:v>545.3473150316544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544.57115652502273</c:v>
                </c:pt>
                <c:pt idx="2">
                  <c:v>348.45118909376225</c:v>
                </c:pt>
                <c:pt idx="3">
                  <c:v>397.17526173705187</c:v>
                </c:pt>
                <c:pt idx="4">
                  <c:v>391.29322715650846</c:v>
                </c:pt>
                <c:pt idx="5">
                  <c:v>328.75328210697137</c:v>
                </c:pt>
                <c:pt idx="7">
                  <c:v>366.4182400235735</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0.77615850663173402</c:v>
                </c:pt>
                <c:pt idx="2">
                  <c:v>0.77877269366631063</c:v>
                </c:pt>
                <c:pt idx="3">
                  <c:v>1.141985223257308</c:v>
                </c:pt>
                <c:pt idx="4">
                  <c:v>1.1391492429704397</c:v>
                </c:pt>
                <c:pt idx="5">
                  <c:v>0.2012055352746413</c:v>
                </c:pt>
                <c:pt idx="7">
                  <c:v>0.81527817379217493</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545.34731503165449</c:v>
                </c:pt>
                <c:pt idx="2">
                  <c:v>349.22996178742858</c:v>
                </c:pt>
                <c:pt idx="3">
                  <c:v>398.31724696030921</c:v>
                </c:pt>
                <c:pt idx="4">
                  <c:v>392.43237639947893</c:v>
                </c:pt>
                <c:pt idx="5">
                  <c:v>328.95448764224602</c:v>
                </c:pt>
                <c:pt idx="7">
                  <c:v>367.2335181973657</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1.4348482396038407</c:v>
                </c:pt>
                <c:pt idx="1">
                  <c:v>1.3442209238451608</c:v>
                </c:pt>
                <c:pt idx="2">
                  <c:v>1.2560428796237215</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1.4348482396038407</c:v>
                </c:pt>
                <c:pt idx="1">
                  <c:v>1.3442209238451608</c:v>
                </c:pt>
                <c:pt idx="2">
                  <c:v>1.2560428796237215</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2307608588954673</c:v>
                </c:pt>
                <c:pt idx="2">
                  <c:v>3.2899777611273535</c:v>
                </c:pt>
                <c:pt idx="3">
                  <c:v>7.2810123658369035</c:v>
                </c:pt>
                <c:pt idx="4">
                  <c:v>6.129273431379354</c:v>
                </c:pt>
                <c:pt idx="6">
                  <c:v>6.129273431379354</c:v>
                </c:pt>
                <c:pt idx="7">
                  <c:v>6.3339722664937659</c:v>
                </c:pt>
                <c:pt idx="8">
                  <c:v>6.3438875192633484</c:v>
                </c:pt>
                <c:pt idx="9">
                  <c:v>6.649328105796627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8183898588954672</c:v>
                </c:pt>
                <c:pt idx="5">
                  <c:v>6.1313374313793538</c:v>
                </c:pt>
                <c:pt idx="10">
                  <c:v>6.65139210579662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5.9216902231886123E-2</c:v>
                </c:pt>
                <c:pt idx="2">
                  <c:v>3.99103460470955</c:v>
                </c:pt>
                <c:pt idx="3">
                  <c:v>0.26269606554245084</c:v>
                </c:pt>
                <c:pt idx="6">
                  <c:v>0.20469883511441153</c:v>
                </c:pt>
                <c:pt idx="7">
                  <c:v>9.9152527695829037E-3</c:v>
                </c:pt>
                <c:pt idx="8">
                  <c:v>0.3054405865332787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412371</c:v>
                </c:pt>
                <c:pt idx="5">
                  <c:v>-2.0640000000000658E-3</c:v>
                </c:pt>
                <c:pt idx="10">
                  <c:v>9.4799999999999347E-3</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1544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414435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2307608588954673</c:v>
                </c:pt>
                <c:pt idx="5">
                  <c:v>6.129273431379354</c:v>
                </c:pt>
                <c:pt idx="10">
                  <c:v>6.660872105796626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Huishoudens met laag inkomen (drempel)</c:v>
                </c:pt>
                <c:pt idx="2">
                  <c:v>Inwoners</c:v>
                </c:pt>
                <c:pt idx="3">
                  <c:v>Ouderen</c:v>
                </c:pt>
                <c:pt idx="4">
                  <c:v>Wajong</c:v>
                </c:pt>
                <c:pt idx="5">
                  <c:v>Uitkeringsont. min bijstandsont.</c:v>
                </c:pt>
                <c:pt idx="6">
                  <c:v>Gem. gestandaardiseerd inkomen 75 t/m 84</c:v>
                </c:pt>
                <c:pt idx="7">
                  <c:v>Uitkeringsontvangers</c:v>
                </c:pt>
                <c:pt idx="8">
                  <c:v>Klantenpotentieel lokaal</c:v>
                </c:pt>
                <c:pt idx="9">
                  <c:v>Gem. gestandaardiseerd inkomen 85+</c:v>
                </c:pt>
                <c:pt idx="10">
                  <c:v>Overig</c:v>
                </c:pt>
              </c:strCache>
            </c:strRef>
          </c:cat>
          <c:val>
            <c:numRef>
              <c:f>Sheet1!$B$2:$B$12</c:f>
              <c:numCache>
                <c:formatCode>General</c:formatCode>
                <c:ptCount val="11"/>
                <c:pt idx="0">
                  <c:v>1.8201152843001533</c:v>
                </c:pt>
                <c:pt idx="1">
                  <c:v>0.97552409718399991</c:v>
                </c:pt>
                <c:pt idx="2">
                  <c:v>0.66844046360000009</c:v>
                </c:pt>
                <c:pt idx="3">
                  <c:v>0.43679728872000001</c:v>
                </c:pt>
                <c:pt idx="4">
                  <c:v>0.42596377824000009</c:v>
                </c:pt>
                <c:pt idx="5">
                  <c:v>0.37859148288000005</c:v>
                </c:pt>
                <c:pt idx="6">
                  <c:v>0.29231349517827598</c:v>
                </c:pt>
                <c:pt idx="7">
                  <c:v>0.21139628293333296</c:v>
                </c:pt>
                <c:pt idx="8">
                  <c:v>0.17389450000000001</c:v>
                </c:pt>
                <c:pt idx="9">
                  <c:v>0.17336124214172405</c:v>
                </c:pt>
                <c:pt idx="10">
                  <c:v>1.094994190619140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9.4800000000000006E-3</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96492750054639997</c:v>
                </c:pt>
                <c:pt idx="1">
                  <c:v>0.97970221710250016</c:v>
                </c:pt>
                <c:pt idx="2">
                  <c:v>1.02747818678544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6079000000000001E-2</c:v>
                </c:pt>
                <c:pt idx="1">
                  <c:v>2.6079000000000001E-2</c:v>
                </c:pt>
                <c:pt idx="2">
                  <c:v>2.6079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99100650054639994</c:v>
                </c:pt>
                <c:pt idx="1">
                  <c:v>1.0057812171025002</c:v>
                </c:pt>
                <c:pt idx="2">
                  <c:v>1.05355718678544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74.0029071885271</c:v>
                </c:pt>
                <c:pt idx="1">
                  <c:v>441.30730500112617</c:v>
                </c:pt>
                <c:pt idx="2">
                  <c:v>462.8280120655135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108139534883721</c:v>
                </c:pt>
                <c:pt idx="1">
                  <c:v>11.747297297297298</c:v>
                </c:pt>
                <c:pt idx="2">
                  <c:v>11.7472972972972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84.11104672341082</c:v>
                </c:pt>
                <c:pt idx="1">
                  <c:v>453.05460229842356</c:v>
                </c:pt>
                <c:pt idx="2">
                  <c:v>474.575309362810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462.82801206551358</c:v>
                </c:pt>
                <c:pt idx="2">
                  <c:v>353.92734503821339</c:v>
                </c:pt>
                <c:pt idx="3">
                  <c:v>385.76969385518419</c:v>
                </c:pt>
                <c:pt idx="4">
                  <c:v>591.63354995607403</c:v>
                </c:pt>
                <c:pt idx="5">
                  <c:v>384.44974720548373</c:v>
                </c:pt>
                <c:pt idx="7">
                  <c:v>428.94508401373878</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11.747297297297298</c:v>
                </c:pt>
                <c:pt idx="2">
                  <c:v>6.9538228614685842</c:v>
                </c:pt>
                <c:pt idx="3">
                  <c:v>9.4707271010387153</c:v>
                </c:pt>
                <c:pt idx="4">
                  <c:v>8.6281775096940976</c:v>
                </c:pt>
                <c:pt idx="5">
                  <c:v>9.1835140997830802</c:v>
                </c:pt>
                <c:pt idx="7">
                  <c:v>8.5590603929961198</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474.57530936281091</c:v>
                </c:pt>
                <c:pt idx="2">
                  <c:v>360.88116789968194</c:v>
                </c:pt>
                <c:pt idx="3">
                  <c:v>395.24042095622292</c:v>
                </c:pt>
                <c:pt idx="4">
                  <c:v>600.26172746576822</c:v>
                </c:pt>
                <c:pt idx="5">
                  <c:v>393.63326130526679</c:v>
                </c:pt>
                <c:pt idx="7">
                  <c:v>437.50414440673501</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94443014880421905</c:v>
                </c:pt>
                <c:pt idx="2">
                  <c:v>0.94443014880421905</c:v>
                </c:pt>
                <c:pt idx="3">
                  <c:v>0.98859692671336308</c:v>
                </c:pt>
                <c:pt idx="4">
                  <c:v>1.0057812171025</c:v>
                </c:pt>
                <c:pt idx="6">
                  <c:v>1.0057526814081414</c:v>
                </c:pt>
                <c:pt idx="7">
                  <c:v>1.0057526814081414</c:v>
                </c:pt>
                <c:pt idx="8">
                  <c:v>1.0057526814081414</c:v>
                </c:pt>
                <c:pt idx="9">
                  <c:v>1.05355718678544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96492750054639997</c:v>
                </c:pt>
                <c:pt idx="5">
                  <c:v>0.97970221710250005</c:v>
                </c:pt>
                <c:pt idx="10">
                  <c:v>1.02747818678544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4166777909144035E-2</c:v>
                </c:pt>
                <c:pt idx="3">
                  <c:v>1.7184290389137012E-2</c:v>
                </c:pt>
                <c:pt idx="8">
                  <c:v>4.7804505377298565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6576351742180867E-2</c:v>
                </c:pt>
                <c:pt idx="6">
                  <c:v>2.8535694358602256E-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6079000000000001E-2</c:v>
                </c:pt>
                <c:pt idx="5">
                  <c:v>2.6079000000000001E-2</c:v>
                </c:pt>
                <c:pt idx="10">
                  <c:v>2.6079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99100650054639994</c:v>
                </c:pt>
                <c:pt idx="5">
                  <c:v>1.0057812171025</c:v>
                </c:pt>
                <c:pt idx="10">
                  <c:v>1.05355718678544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Huishoudens laag inkomen (drempel)</c:v>
                </c:pt>
                <c:pt idx="2">
                  <c:v>Leerlingen VO</c:v>
                </c:pt>
                <c:pt idx="3">
                  <c:v>Land</c:v>
                </c:pt>
                <c:pt idx="4">
                  <c:v>Kernen</c:v>
                </c:pt>
                <c:pt idx="5">
                  <c:v>Inwoners</c:v>
                </c:pt>
                <c:pt idx="6">
                  <c:v>Minderheden</c:v>
                </c:pt>
                <c:pt idx="7">
                  <c:v>Omgevingsadressendichtheid</c:v>
                </c:pt>
                <c:pt idx="8">
                  <c:v>Binnenwater</c:v>
                </c:pt>
                <c:pt idx="9">
                  <c:v>Klantenpotentieel regionaal</c:v>
                </c:pt>
                <c:pt idx="10">
                  <c:v>Overig</c:v>
                </c:pt>
              </c:strCache>
            </c:strRef>
          </c:cat>
          <c:val>
            <c:numRef>
              <c:f>Sheet1!$B$2:$B$12</c:f>
              <c:numCache>
                <c:formatCode>General</c:formatCode>
                <c:ptCount val="11"/>
                <c:pt idx="0">
                  <c:v>0.653459664</c:v>
                </c:pt>
                <c:pt idx="1">
                  <c:v>0.11415416365600001</c:v>
                </c:pt>
                <c:pt idx="2">
                  <c:v>0.11033233411200001</c:v>
                </c:pt>
                <c:pt idx="3">
                  <c:v>6.793377448E-2</c:v>
                </c:pt>
                <c:pt idx="4">
                  <c:v>2.8514281119999998E-2</c:v>
                </c:pt>
                <c:pt idx="5">
                  <c:v>2.0476526720000002E-2</c:v>
                </c:pt>
                <c:pt idx="6">
                  <c:v>1.5977741E-2</c:v>
                </c:pt>
                <c:pt idx="7">
                  <c:v>1.4154798097440002E-2</c:v>
                </c:pt>
                <c:pt idx="8">
                  <c:v>1.5868528000000004E-3</c:v>
                </c:pt>
                <c:pt idx="9">
                  <c:v>8.880508000000002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2.6079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6771555407733361E-2</c:v>
                </c:pt>
                <c:pt idx="1">
                  <c:v>0.11009576905066668</c:v>
                </c:pt>
                <c:pt idx="2">
                  <c:v>0.115481798559573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2578999999999996E-2</c:v>
                </c:pt>
                <c:pt idx="1">
                  <c:v>7.1918999999999997E-2</c:v>
                </c:pt>
                <c:pt idx="2">
                  <c:v>7.1918999999999997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4935055540773334</c:v>
                </c:pt>
                <c:pt idx="1">
                  <c:v>0.18201476905066666</c:v>
                </c:pt>
                <c:pt idx="2">
                  <c:v>0.1874007985595733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130884668000002</c:v>
                </c:pt>
                <c:pt idx="1">
                  <c:v>-0.9862469144999999</c:v>
                </c:pt>
                <c:pt idx="2">
                  <c:v>-0.9350299561599999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130884668000002</c:v>
                </c:pt>
                <c:pt idx="1">
                  <c:v>-0.9862469144999999</c:v>
                </c:pt>
                <c:pt idx="2">
                  <c:v>-0.9350299561599999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0862846392595644</c:v>
                </c:pt>
                <c:pt idx="1">
                  <c:v>9.0138995456579885</c:v>
                </c:pt>
                <c:pt idx="2">
                  <c:v>9.45487134104906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110575745202123</c:v>
                </c:pt>
                <c:pt idx="1">
                  <c:v>5.8882429998362538</c:v>
                </c:pt>
                <c:pt idx="2">
                  <c:v>5.888242999836253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196860384461685</c:v>
                </c:pt>
                <c:pt idx="1">
                  <c:v>14.902142545494241</c:v>
                </c:pt>
                <c:pt idx="2">
                  <c:v>15.3431143408853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9.454871341049067</c:v>
                </c:pt>
                <c:pt idx="2">
                  <c:v>7.7613523598258451</c:v>
                </c:pt>
                <c:pt idx="3">
                  <c:v>7.0857948476453601</c:v>
                </c:pt>
                <c:pt idx="4">
                  <c:v>7.570170597341451</c:v>
                </c:pt>
                <c:pt idx="5">
                  <c:v>7.4445458795121286</c:v>
                </c:pt>
                <c:pt idx="7">
                  <c:v>7.4654659210811971</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5.8882429998362538</c:v>
                </c:pt>
                <c:pt idx="2">
                  <c:v>0</c:v>
                </c:pt>
                <c:pt idx="3">
                  <c:v>0</c:v>
                </c:pt>
                <c:pt idx="4">
                  <c:v>0</c:v>
                </c:pt>
                <c:pt idx="5">
                  <c:v>0</c:v>
                </c:pt>
                <c:pt idx="7">
                  <c:v>0</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15.34311434088532</c:v>
                </c:pt>
                <c:pt idx="2">
                  <c:v>7.7613523598258451</c:v>
                </c:pt>
                <c:pt idx="3">
                  <c:v>7.0857948476453601</c:v>
                </c:pt>
                <c:pt idx="4">
                  <c:v>7.570170597341451</c:v>
                </c:pt>
                <c:pt idx="5">
                  <c:v>7.4445458795121286</c:v>
                </c:pt>
                <c:pt idx="7">
                  <c:v>7.4654659210811971</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4797583889369767</c:v>
                </c:pt>
                <c:pt idx="2">
                  <c:v>0.14797583889369767</c:v>
                </c:pt>
                <c:pt idx="3">
                  <c:v>0.17023636806634967</c:v>
                </c:pt>
                <c:pt idx="4">
                  <c:v>0.17267476905066664</c:v>
                </c:pt>
                <c:pt idx="6">
                  <c:v>0.18201476905066666</c:v>
                </c:pt>
                <c:pt idx="7">
                  <c:v>0.18202788765455957</c:v>
                </c:pt>
                <c:pt idx="8">
                  <c:v>0.18202788765455957</c:v>
                </c:pt>
                <c:pt idx="9">
                  <c:v>0.1874007985595732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8.6771555407733361E-2</c:v>
                </c:pt>
                <c:pt idx="5">
                  <c:v>0.11009576905066666</c:v>
                </c:pt>
                <c:pt idx="10">
                  <c:v>0.1154817985595732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2.2260529172652015E-2</c:v>
                </c:pt>
                <c:pt idx="3">
                  <c:v>2.4384009843169767E-3</c:v>
                </c:pt>
                <c:pt idx="6">
                  <c:v>1.3118603892909065E-5</c:v>
                </c:pt>
                <c:pt idx="8">
                  <c:v>5.3729109050137166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3747165140356803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2578999999999996E-2</c:v>
                </c:pt>
                <c:pt idx="5">
                  <c:v>7.1918999999999997E-2</c:v>
                </c:pt>
                <c:pt idx="10">
                  <c:v>7.191899999999999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9.3400000000000011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4935055540773334</c:v>
                </c:pt>
                <c:pt idx="5">
                  <c:v>0.18201476905066666</c:v>
                </c:pt>
                <c:pt idx="10">
                  <c:v>0.1874007985595732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Huishoudens laag inkomen (drempel)</c:v>
                </c:pt>
                <c:pt idx="2">
                  <c:v>Inwoners</c:v>
                </c:pt>
                <c:pt idx="3">
                  <c:v>Bijstandsontvangers</c:v>
                </c:pt>
                <c:pt idx="4">
                  <c:v>Eenouderhuishoudens</c:v>
                </c:pt>
                <c:pt idx="5">
                  <c:v>Uitkeringsontvangers</c:v>
                </c:pt>
                <c:pt idx="6">
                  <c:v>Huishoudens</c:v>
                </c:pt>
                <c:pt idx="7">
                  <c:v>Klantenpotentieel regionaal</c:v>
                </c:pt>
                <c:pt idx="8">
                  <c:v>Minderheden</c:v>
                </c:pt>
                <c:pt idx="9">
                  <c:v>Omgevingsadressendichtheid</c:v>
                </c:pt>
                <c:pt idx="10">
                  <c:v>Overig</c:v>
                </c:pt>
              </c:strCache>
            </c:strRef>
          </c:cat>
          <c:val>
            <c:numRef>
              <c:f>Sheet1!$B$2:$B$12</c:f>
              <c:numCache>
                <c:formatCode>General</c:formatCode>
                <c:ptCount val="11"/>
                <c:pt idx="0">
                  <c:v>3.6681060000000008E-2</c:v>
                </c:pt>
                <c:pt idx="1">
                  <c:v>1.9760082992000001E-2</c:v>
                </c:pt>
                <c:pt idx="2">
                  <c:v>1.5160505360000003E-2</c:v>
                </c:pt>
                <c:pt idx="3">
                  <c:v>9.370083146666661E-3</c:v>
                </c:pt>
                <c:pt idx="4">
                  <c:v>7.8853720399999997E-3</c:v>
                </c:pt>
                <c:pt idx="5">
                  <c:v>4.9092922666666575E-3</c:v>
                </c:pt>
                <c:pt idx="6">
                  <c:v>4.02445472E-3</c:v>
                </c:pt>
                <c:pt idx="7">
                  <c:v>3.9327963999999998E-3</c:v>
                </c:pt>
                <c:pt idx="8">
                  <c:v>2.8023008000000005E-3</c:v>
                </c:pt>
                <c:pt idx="9">
                  <c:v>2.7715688582400006E-3</c:v>
                </c:pt>
                <c:pt idx="10">
                  <c:v>8.18428197599996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7.1918999999999997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837263972000001</c:v>
                </c:pt>
                <c:pt idx="1">
                  <c:v>2.3498259733599998</c:v>
                </c:pt>
                <c:pt idx="2">
                  <c:v>2.46448891936000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0304999999999999E-2</c:v>
                </c:pt>
                <c:pt idx="1">
                  <c:v>0.03</c:v>
                </c:pt>
                <c:pt idx="2">
                  <c:v>3.0698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140313972</c:v>
                </c:pt>
                <c:pt idx="1">
                  <c:v>2.3798259733599996</c:v>
                </c:pt>
                <c:pt idx="2">
                  <c:v>2.49518691936000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201.77574253807109</c:v>
                </c:pt>
                <c:pt idx="2">
                  <c:v>188.44887297461594</c:v>
                </c:pt>
                <c:pt idx="3">
                  <c:v>172.95775867009317</c:v>
                </c:pt>
                <c:pt idx="4">
                  <c:v>189.78056371385088</c:v>
                </c:pt>
                <c:pt idx="5">
                  <c:v>184.28378388997373</c:v>
                </c:pt>
                <c:pt idx="7">
                  <c:v>183.86774481213345</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2.5133453414114948</c:v>
                </c:pt>
                <c:pt idx="2">
                  <c:v>4.5052164626632711</c:v>
                </c:pt>
                <c:pt idx="3">
                  <c:v>4.3495823964021847</c:v>
                </c:pt>
                <c:pt idx="4">
                  <c:v>4.6292557878715055</c:v>
                </c:pt>
                <c:pt idx="5">
                  <c:v>4.2352491722557097</c:v>
                </c:pt>
                <c:pt idx="7">
                  <c:v>4.4298259547981678</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204.28908787948262</c:v>
                </c:pt>
                <c:pt idx="2">
                  <c:v>192.95408943727921</c:v>
                </c:pt>
                <c:pt idx="3">
                  <c:v>177.30734106649535</c:v>
                </c:pt>
                <c:pt idx="4">
                  <c:v>194.40981950172232</c:v>
                </c:pt>
                <c:pt idx="5">
                  <c:v>188.51903306222943</c:v>
                </c:pt>
                <c:pt idx="7">
                  <c:v>188.29757076693159</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3082912940012026</c:v>
                </c:pt>
                <c:pt idx="2">
                  <c:v>2.3082912940012026</c:v>
                </c:pt>
                <c:pt idx="3">
                  <c:v>2.3082912940012026</c:v>
                </c:pt>
                <c:pt idx="4">
                  <c:v>2.3798259733599996</c:v>
                </c:pt>
                <c:pt idx="6">
                  <c:v>2.3798259733599996</c:v>
                </c:pt>
                <c:pt idx="7">
                  <c:v>2.3798259733599996</c:v>
                </c:pt>
                <c:pt idx="8">
                  <c:v>2.3798259733599996</c:v>
                </c:pt>
                <c:pt idx="9">
                  <c:v>2.4944889193600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837263972000001</c:v>
                </c:pt>
                <c:pt idx="5">
                  <c:v>2.3498259733599998</c:v>
                </c:pt>
                <c:pt idx="10">
                  <c:v>2.4644889193600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7.183967935879719E-2</c:v>
                </c:pt>
                <c:pt idx="8">
                  <c:v>0.114662946000000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7401031987975781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0304999999999999E-2</c:v>
                </c:pt>
                <c:pt idx="5">
                  <c:v>0.03</c:v>
                </c:pt>
                <c:pt idx="10">
                  <c:v>3.0698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6.980000000000007E-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3.0499999999999972E-4</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3140313972</c:v>
                </c:pt>
                <c:pt idx="5">
                  <c:v>2.3798259733599996</c:v>
                </c:pt>
                <c:pt idx="10">
                  <c:v>2.49518691936000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Klantenpotentieel regionaal</c:v>
                </c:pt>
                <c:pt idx="4">
                  <c:v>Opp. historische kernen &lt;40 ha</c:v>
                </c:pt>
                <c:pt idx="10">
                  <c:v>Overig</c:v>
                </c:pt>
              </c:strCache>
            </c:strRef>
          </c:cat>
          <c:val>
            <c:numRef>
              <c:f>Sheet1!$B$2:$B$12</c:f>
              <c:numCache>
                <c:formatCode>General</c:formatCode>
                <c:ptCount val="11"/>
                <c:pt idx="0">
                  <c:v>1.0200854320800001</c:v>
                </c:pt>
                <c:pt idx="1">
                  <c:v>0.68510000000000004</c:v>
                </c:pt>
                <c:pt idx="2">
                  <c:v>0.64766281528000014</c:v>
                </c:pt>
                <c:pt idx="3">
                  <c:v>0.11164067200000001</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2.734868664761137</c:v>
                </c:pt>
                <c:pt idx="1">
                  <c:v>-80.747250245619782</c:v>
                </c:pt>
                <c:pt idx="2">
                  <c:v>-76.55395088914360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2.734868664761137</c:v>
                </c:pt>
                <c:pt idx="1">
                  <c:v>-80.747250245619782</c:v>
                </c:pt>
                <c:pt idx="2">
                  <c:v>-76.5539508891436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3.0698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0188197359097964</c:v>
                </c:pt>
                <c:pt idx="1">
                  <c:v>3.1095897342565624</c:v>
                </c:pt>
                <c:pt idx="2">
                  <c:v>3.25259293368486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2533999999999997E-2</c:v>
                </c:pt>
                <c:pt idx="1">
                  <c:v>5.2533999999999997E-2</c:v>
                </c:pt>
                <c:pt idx="2">
                  <c:v>5.2533999999999997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713537359097964</c:v>
                </c:pt>
                <c:pt idx="1">
                  <c:v>3.1621237342565625</c:v>
                </c:pt>
                <c:pt idx="2">
                  <c:v>3.305126933684868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6.53489064187801</c:v>
                </c:pt>
                <c:pt idx="1">
                  <c:v>254.59224940695614</c:v>
                </c:pt>
                <c:pt idx="2">
                  <c:v>266.3003875622128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2902409146590443</c:v>
                </c:pt>
                <c:pt idx="1">
                  <c:v>4.3011298509906668</c:v>
                </c:pt>
                <c:pt idx="2">
                  <c:v>4.301129850990666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0.82513155653706</c:v>
                </c:pt>
                <c:pt idx="1">
                  <c:v>258.89337925794683</c:v>
                </c:pt>
                <c:pt idx="2">
                  <c:v>270.6015174132035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266.30038756221285</c:v>
                </c:pt>
                <c:pt idx="2">
                  <c:v>218.45033036672672</c:v>
                </c:pt>
                <c:pt idx="3">
                  <c:v>227.33233443577407</c:v>
                </c:pt>
                <c:pt idx="4">
                  <c:v>224.92192472762676</c:v>
                </c:pt>
                <c:pt idx="5">
                  <c:v>263.62909996612166</c:v>
                </c:pt>
                <c:pt idx="7">
                  <c:v>233.58342237406231</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4.3011298509906668</c:v>
                </c:pt>
                <c:pt idx="2">
                  <c:v>3.5964018729976175</c:v>
                </c:pt>
                <c:pt idx="3">
                  <c:v>1.289110183103116</c:v>
                </c:pt>
                <c:pt idx="4">
                  <c:v>2.4938716654650324</c:v>
                </c:pt>
                <c:pt idx="5">
                  <c:v>0</c:v>
                </c:pt>
                <c:pt idx="7">
                  <c:v>1.8448459303914415</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270.60151741320357</c:v>
                </c:pt>
                <c:pt idx="2">
                  <c:v>222.04673223972432</c:v>
                </c:pt>
                <c:pt idx="3">
                  <c:v>228.62144461887723</c:v>
                </c:pt>
                <c:pt idx="4">
                  <c:v>227.4157963930918</c:v>
                </c:pt>
                <c:pt idx="5">
                  <c:v>263.62909996612166</c:v>
                </c:pt>
                <c:pt idx="7">
                  <c:v>235.42826830445375</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0679554333890584</c:v>
                </c:pt>
                <c:pt idx="2">
                  <c:v>3.0670921065998695</c:v>
                </c:pt>
                <c:pt idx="3">
                  <c:v>3.0670921065998695</c:v>
                </c:pt>
                <c:pt idx="4">
                  <c:v>3.1621237342565629</c:v>
                </c:pt>
                <c:pt idx="6">
                  <c:v>3.1621237342565625</c:v>
                </c:pt>
                <c:pt idx="7">
                  <c:v>3.1538477186108702</c:v>
                </c:pt>
                <c:pt idx="8">
                  <c:v>3.1538477186108702</c:v>
                </c:pt>
                <c:pt idx="9">
                  <c:v>3.305126933684868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0188197359097964</c:v>
                </c:pt>
                <c:pt idx="5">
                  <c:v>3.1095897342565624</c:v>
                </c:pt>
                <c:pt idx="10">
                  <c:v>3.25259293368486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9.5031627656693193E-2</c:v>
                </c:pt>
                <c:pt idx="6">
                  <c:v>3.7934416902709865E-3</c:v>
                </c:pt>
                <c:pt idx="8">
                  <c:v>0.1512792150739979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3983025207382266E-3</c:v>
                </c:pt>
                <c:pt idx="2">
                  <c:v>8.6332678918894909E-4</c:v>
                </c:pt>
                <c:pt idx="7">
                  <c:v>1.2069457335963332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5.2533999999999997E-2</c:v>
                </c:pt>
                <c:pt idx="5">
                  <c:v>5.2533999999999997E-2</c:v>
                </c:pt>
                <c:pt idx="10">
                  <c:v>5.253399999999999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0713537359097964</c:v>
                </c:pt>
                <c:pt idx="5">
                  <c:v>3.1621237342565625</c:v>
                </c:pt>
                <c:pt idx="10">
                  <c:v>3.305126933684868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pp. bebouwing kern *bodemfactor kern</c:v>
                </c:pt>
                <c:pt idx="2">
                  <c:v>Oppervlak bebouwing woonkernen</c:v>
                </c:pt>
                <c:pt idx="3">
                  <c:v>Inwoners</c:v>
                </c:pt>
                <c:pt idx="4">
                  <c:v>Woonruimten * bodemfactor kern</c:v>
                </c:pt>
                <c:pt idx="5">
                  <c:v>Land</c:v>
                </c:pt>
                <c:pt idx="6">
                  <c:v>Land * bodemfactor gemeente</c:v>
                </c:pt>
                <c:pt idx="7">
                  <c:v>Omgevingsadressendichtheid</c:v>
                </c:pt>
                <c:pt idx="8">
                  <c:v>Kernen * bodemfactor buiten kom</c:v>
                </c:pt>
                <c:pt idx="9">
                  <c:v>Opp. bebouwing totaal</c:v>
                </c:pt>
                <c:pt idx="10">
                  <c:v>Overig</c:v>
                </c:pt>
              </c:strCache>
            </c:strRef>
          </c:cat>
          <c:val>
            <c:numRef>
              <c:f>Sheet1!$B$2:$B$12</c:f>
              <c:numCache>
                <c:formatCode>General</c:formatCode>
                <c:ptCount val="11"/>
                <c:pt idx="0">
                  <c:v>0.52083423392000006</c:v>
                </c:pt>
                <c:pt idx="1">
                  <c:v>0.48806527223999996</c:v>
                </c:pt>
                <c:pt idx="2">
                  <c:v>0.36096884096000004</c:v>
                </c:pt>
                <c:pt idx="3">
                  <c:v>0.32132395776</c:v>
                </c:pt>
                <c:pt idx="4">
                  <c:v>0.29965677559999998</c:v>
                </c:pt>
                <c:pt idx="5">
                  <c:v>0.22238623264000001</c:v>
                </c:pt>
                <c:pt idx="6">
                  <c:v>0.20229871376000003</c:v>
                </c:pt>
                <c:pt idx="7">
                  <c:v>0.19326743556120002</c:v>
                </c:pt>
                <c:pt idx="8">
                  <c:v>9.593527839999999E-2</c:v>
                </c:pt>
                <c:pt idx="9">
                  <c:v>8.9023022399999999E-2</c:v>
                </c:pt>
                <c:pt idx="10">
                  <c:v>0.45883317044366789</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5.2533999999999997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46405252265563823</c:v>
                </c:pt>
                <c:pt idx="1">
                  <c:v>-0.4790502145897742</c:v>
                </c:pt>
                <c:pt idx="2">
                  <c:v>-0.50291749701276312</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46405252265563823</c:v>
                </c:pt>
                <c:pt idx="1">
                  <c:v>-0.4790502145897742</c:v>
                </c:pt>
                <c:pt idx="2">
                  <c:v>-0.50291749701276312</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7.897306872653182</c:v>
                </c:pt>
                <c:pt idx="1">
                  <c:v>-39.22140286472689</c:v>
                </c:pt>
                <c:pt idx="2">
                  <c:v>-41.175495088649349</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7.897306872653182</c:v>
                </c:pt>
                <c:pt idx="1">
                  <c:v>-39.22140286472689</c:v>
                </c:pt>
                <c:pt idx="2">
                  <c:v>-41.175495088649349</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41.175495088649349</c:v>
                </c:pt>
                <c:pt idx="2">
                  <c:v>-38.760009656093644</c:v>
                </c:pt>
                <c:pt idx="3">
                  <c:v>-42.643892174605462</c:v>
                </c:pt>
                <c:pt idx="4">
                  <c:v>-39.938554700964353</c:v>
                </c:pt>
                <c:pt idx="5">
                  <c:v>-35.285553474086946</c:v>
                </c:pt>
                <c:pt idx="7">
                  <c:v>-39.157002501437603</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41.175495088649349</c:v>
                </c:pt>
                <c:pt idx="2">
                  <c:v>-38.760009656093644</c:v>
                </c:pt>
                <c:pt idx="3">
                  <c:v>-42.643892174605462</c:v>
                </c:pt>
                <c:pt idx="4">
                  <c:v>-39.938554700964353</c:v>
                </c:pt>
                <c:pt idx="5">
                  <c:v>-35.285553474086946</c:v>
                </c:pt>
                <c:pt idx="7">
                  <c:v>-39.157002501437603</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76.553950889143607</c:v>
                </c:pt>
                <c:pt idx="2">
                  <c:v>-122.98110606095456</c:v>
                </c:pt>
                <c:pt idx="3">
                  <c:v>-113.24581088017989</c:v>
                </c:pt>
                <c:pt idx="4">
                  <c:v>-114.96576446046622</c:v>
                </c:pt>
                <c:pt idx="5">
                  <c:v>-125.26215531708974</c:v>
                </c:pt>
                <c:pt idx="7">
                  <c:v>-119.11370917967261</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76.553950889143607</c:v>
                </c:pt>
                <c:pt idx="2">
                  <c:v>-122.98110606095456</c:v>
                </c:pt>
                <c:pt idx="3">
                  <c:v>-113.24581088017989</c:v>
                </c:pt>
                <c:pt idx="4">
                  <c:v>-114.96576446046622</c:v>
                </c:pt>
                <c:pt idx="5">
                  <c:v>-125.26215531708974</c:v>
                </c:pt>
                <c:pt idx="7">
                  <c:v>-119.11370917967261</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46440157013604982</c:v>
                </c:pt>
                <c:pt idx="2">
                  <c:v>-0.46440157013604982</c:v>
                </c:pt>
                <c:pt idx="3">
                  <c:v>-0.4790502145897742</c:v>
                </c:pt>
                <c:pt idx="4">
                  <c:v>-0.4790502145897742</c:v>
                </c:pt>
                <c:pt idx="6">
                  <c:v>-0.47951917930130256</c:v>
                </c:pt>
                <c:pt idx="7">
                  <c:v>-0.47951917930130256</c:v>
                </c:pt>
                <c:pt idx="8">
                  <c:v>-0.50291749701276312</c:v>
                </c:pt>
                <c:pt idx="9">
                  <c:v>-0.5029174970127631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46405252265563823</c:v>
                </c:pt>
                <c:pt idx="5">
                  <c:v>-0.4790502145897742</c:v>
                </c:pt>
                <c:pt idx="10">
                  <c:v>-0.5029174970127631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4904748041160189E-4</c:v>
                </c:pt>
                <c:pt idx="3">
                  <c:v>1.4648644453724368E-2</c:v>
                </c:pt>
                <c:pt idx="6">
                  <c:v>4.689647115283377E-4</c:v>
                </c:pt>
                <c:pt idx="8">
                  <c:v>2.3398317711460573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46405252265563823</c:v>
                </c:pt>
                <c:pt idx="5">
                  <c:v>-0.4790502145897742</c:v>
                </c:pt>
                <c:pt idx="10">
                  <c:v>-0.5029174970127631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Omgevingsadressendichtheid</c:v>
                </c:pt>
                <c:pt idx="5">
                  <c:v>Oeverlengte *dichtheid *bodemf. gem.</c:v>
                </c:pt>
                <c:pt idx="6">
                  <c:v>Oeverlengte * bodemfactor gemeente</c:v>
                </c:pt>
                <c:pt idx="7">
                  <c:v>Land * bodemfactor gemeente</c:v>
                </c:pt>
                <c:pt idx="10">
                  <c:v>Overig</c:v>
                </c:pt>
              </c:strCache>
            </c:strRef>
          </c:cat>
          <c:val>
            <c:numRef>
              <c:f>Sheet1!$B$2:$B$12</c:f>
              <c:numCache>
                <c:formatCode>General</c:formatCode>
                <c:ptCount val="11"/>
                <c:pt idx="0">
                  <c:v>-0.59456005336000006</c:v>
                </c:pt>
                <c:pt idx="1">
                  <c:v>0.17373568576000004</c:v>
                </c:pt>
                <c:pt idx="2">
                  <c:v>-0.10769865496000001</c:v>
                </c:pt>
                <c:pt idx="3">
                  <c:v>-2.3488161840000004E-2</c:v>
                </c:pt>
                <c:pt idx="4">
                  <c:v>1.4946674914080001E-2</c:v>
                </c:pt>
                <c:pt idx="5">
                  <c:v>1.301448235315676E-2</c:v>
                </c:pt>
                <c:pt idx="6">
                  <c:v>1.0772431800000001E-2</c:v>
                </c:pt>
                <c:pt idx="7">
                  <c:v>1.03600983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86837664766759981</c:v>
                </c:pt>
                <c:pt idx="1">
                  <c:v>0.8945706082660001</c:v>
                </c:pt>
                <c:pt idx="2">
                  <c:v>0.939196273260960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86837664766759981</c:v>
                </c:pt>
                <c:pt idx="1">
                  <c:v>0.8945706082660001</c:v>
                </c:pt>
                <c:pt idx="2">
                  <c:v>0.9391962732609601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0.916835252560219</c:v>
                </c:pt>
                <c:pt idx="1">
                  <c:v>73.241412171770108</c:v>
                </c:pt>
                <c:pt idx="2">
                  <c:v>76.89506085319797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0.916835252560219</c:v>
                </c:pt>
                <c:pt idx="1">
                  <c:v>73.241412171770108</c:v>
                </c:pt>
                <c:pt idx="2">
                  <c:v>76.89506085319797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76.895060853197975</c:v>
                </c:pt>
                <c:pt idx="2">
                  <c:v>71.37372809337387</c:v>
                </c:pt>
                <c:pt idx="3">
                  <c:v>86.861452291641513</c:v>
                </c:pt>
                <c:pt idx="4">
                  <c:v>73.600269950582387</c:v>
                </c:pt>
                <c:pt idx="5">
                  <c:v>73.912145988773233</c:v>
                </c:pt>
                <c:pt idx="7">
                  <c:v>76.436899081092747</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76.895060853197975</c:v>
                </c:pt>
                <c:pt idx="2">
                  <c:v>71.37372809337387</c:v>
                </c:pt>
                <c:pt idx="3">
                  <c:v>86.861452291641513</c:v>
                </c:pt>
                <c:pt idx="4">
                  <c:v>73.600269950582387</c:v>
                </c:pt>
                <c:pt idx="5">
                  <c:v>73.912145988773233</c:v>
                </c:pt>
                <c:pt idx="7">
                  <c:v>76.436899081092747</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8672171102075682</c:v>
                </c:pt>
                <c:pt idx="2">
                  <c:v>0.8672171102075682</c:v>
                </c:pt>
                <c:pt idx="3">
                  <c:v>0.8672171102075682</c:v>
                </c:pt>
                <c:pt idx="4">
                  <c:v>0.8945706082660001</c:v>
                </c:pt>
                <c:pt idx="6">
                  <c:v>0.89457060826600021</c:v>
                </c:pt>
                <c:pt idx="7">
                  <c:v>0.89550011996095202</c:v>
                </c:pt>
                <c:pt idx="8">
                  <c:v>0.89550011996095202</c:v>
                </c:pt>
                <c:pt idx="9">
                  <c:v>0.9391962732609602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86837664766759981</c:v>
                </c:pt>
                <c:pt idx="5">
                  <c:v>0.89457060826600021</c:v>
                </c:pt>
                <c:pt idx="10">
                  <c:v>0.9391962732609602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2.7353498058431958E-2</c:v>
                </c:pt>
                <c:pt idx="6">
                  <c:v>9.2951169495185707E-4</c:v>
                </c:pt>
                <c:pt idx="8">
                  <c:v>4.369615330000815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1595374600316629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86837664766759981</c:v>
                </c:pt>
                <c:pt idx="5">
                  <c:v>0.89457060826600021</c:v>
                </c:pt>
                <c:pt idx="10">
                  <c:v>0.9391962732609602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Omgevingsadressendichtheid</c:v>
                </c:pt>
                <c:pt idx="3">
                  <c:v>Woz waarde niet woningen (in mln)</c:v>
                </c:pt>
                <c:pt idx="4">
                  <c:v>Land</c:v>
                </c:pt>
                <c:pt idx="5">
                  <c:v>Huishoudens laag inkomen (drempel)</c:v>
                </c:pt>
                <c:pt idx="6">
                  <c:v>Klantenpotentieel regionaal</c:v>
                </c:pt>
                <c:pt idx="7">
                  <c:v>Opp. bebouwing totaal</c:v>
                </c:pt>
                <c:pt idx="8">
                  <c:v>Kernen</c:v>
                </c:pt>
                <c:pt idx="9">
                  <c:v>Minderheden</c:v>
                </c:pt>
                <c:pt idx="10">
                  <c:v>Overig</c:v>
                </c:pt>
              </c:strCache>
            </c:strRef>
          </c:cat>
          <c:val>
            <c:numRef>
              <c:f>Sheet1!$B$2:$B$12</c:f>
              <c:numCache>
                <c:formatCode>General</c:formatCode>
                <c:ptCount val="11"/>
                <c:pt idx="0">
                  <c:v>0.54674545744000003</c:v>
                </c:pt>
                <c:pt idx="1">
                  <c:v>8.9495660800000015E-2</c:v>
                </c:pt>
                <c:pt idx="2">
                  <c:v>6.5527806576960015E-2</c:v>
                </c:pt>
                <c:pt idx="3">
                  <c:v>4.8209885724000007E-2</c:v>
                </c:pt>
                <c:pt idx="4">
                  <c:v>3.7881580880000001E-2</c:v>
                </c:pt>
                <c:pt idx="5">
                  <c:v>3.749489432E-2</c:v>
                </c:pt>
                <c:pt idx="6">
                  <c:v>2.537288E-2</c:v>
                </c:pt>
                <c:pt idx="7">
                  <c:v>2.4791270400000003E-2</c:v>
                </c:pt>
                <c:pt idx="8">
                  <c:v>2.0268901120000002E-2</c:v>
                </c:pt>
                <c:pt idx="9">
                  <c:v>1.9107197200000002E-2</c:v>
                </c:pt>
                <c:pt idx="10">
                  <c:v>2.430073880000005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994221979720004</c:v>
                </c:pt>
                <c:pt idx="1">
                  <c:v>1.5525754949787502</c:v>
                </c:pt>
                <c:pt idx="2">
                  <c:v>1.6283810232612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101264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994221979720004</c:v>
                </c:pt>
                <c:pt idx="1">
                  <c:v>1.5525754949787502</c:v>
                </c:pt>
                <c:pt idx="2">
                  <c:v>1.7296450232612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2.45179240277668</c:v>
                </c:pt>
                <c:pt idx="1">
                  <c:v>127.11441747001395</c:v>
                </c:pt>
                <c:pt idx="2">
                  <c:v>133.3208632111675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8.290813820206320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2.45179240277668</c:v>
                </c:pt>
                <c:pt idx="1">
                  <c:v>127.11441747001395</c:v>
                </c:pt>
                <c:pt idx="2">
                  <c:v>141.6116770313738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130884668000002</c:v>
                </c:pt>
                <c:pt idx="2">
                  <c:v>-0.70439859705713359</c:v>
                </c:pt>
                <c:pt idx="3">
                  <c:v>-0.98624691450000013</c:v>
                </c:pt>
                <c:pt idx="4">
                  <c:v>-0.98624691450000013</c:v>
                </c:pt>
                <c:pt idx="6">
                  <c:v>-0.98746819423357268</c:v>
                </c:pt>
                <c:pt idx="7">
                  <c:v>-0.98746819423357268</c:v>
                </c:pt>
                <c:pt idx="8">
                  <c:v>-0.93502995616000018</c:v>
                </c:pt>
                <c:pt idx="9">
                  <c:v>-0.9350299561600001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130884668000002</c:v>
                </c:pt>
                <c:pt idx="5">
                  <c:v>-0.98624691450000013</c:v>
                </c:pt>
                <c:pt idx="10">
                  <c:v>-0.9350299561600001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30868986974286655</c:v>
                </c:pt>
                <c:pt idx="2">
                  <c:v>2.8599057666879606</c:v>
                </c:pt>
                <c:pt idx="7">
                  <c:v>0.2567319000550055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3">
                  <c:v>3.1417540841308269</c:v>
                </c:pt>
                <c:pt idx="6">
                  <c:v>1.2212797335725404E-3</c:v>
                </c:pt>
                <c:pt idx="8">
                  <c:v>0.20429366198143301</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130884668000002</c:v>
                </c:pt>
                <c:pt idx="5">
                  <c:v>-0.98624691450000013</c:v>
                </c:pt>
                <c:pt idx="10">
                  <c:v>-0.9350299561600001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C$2:$C$10</c:f>
              <c:numCache>
                <c:formatCode>General</c:formatCode>
                <c:ptCount val="9"/>
                <c:pt idx="0">
                  <c:v>133.32086321116753</c:v>
                </c:pt>
                <c:pt idx="2">
                  <c:v>129.5919498386429</c:v>
                </c:pt>
                <c:pt idx="3">
                  <c:v>130.46357334840991</c:v>
                </c:pt>
                <c:pt idx="4">
                  <c:v>128.65424715744612</c:v>
                </c:pt>
                <c:pt idx="5">
                  <c:v>129.49453361636813</c:v>
                </c:pt>
                <c:pt idx="7">
                  <c:v>129.55107599021676</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D$2:$D$10</c:f>
              <c:numCache>
                <c:formatCode>General</c:formatCode>
                <c:ptCount val="9"/>
                <c:pt idx="0">
                  <c:v>8.2908138202063206</c:v>
                </c:pt>
                <c:pt idx="2">
                  <c:v>8.3187381910786158</c:v>
                </c:pt>
                <c:pt idx="3">
                  <c:v>8.1323482171538704</c:v>
                </c:pt>
                <c:pt idx="4">
                  <c:v>8.1121525274373152</c:v>
                </c:pt>
                <c:pt idx="5">
                  <c:v>8.596994651498429</c:v>
                </c:pt>
                <c:pt idx="7">
                  <c:v>8.2900583967920571</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kela</c:v>
                </c:pt>
                <c:pt idx="2">
                  <c:v>Hattem</c:v>
                </c:pt>
                <c:pt idx="3">
                  <c:v>Voerendaal</c:v>
                </c:pt>
                <c:pt idx="4">
                  <c:v>Grave</c:v>
                </c:pt>
                <c:pt idx="5">
                  <c:v>Opmeer</c:v>
                </c:pt>
                <c:pt idx="7">
                  <c:v>4 gemeenten</c:v>
                </c:pt>
                <c:pt idx="8">
                  <c:v>Landelijk</c:v>
                </c:pt>
              </c:strCache>
            </c:strRef>
          </c:cat>
          <c:val>
            <c:numRef>
              <c:f>Sheet1!$B$2:$B$10</c:f>
              <c:numCache>
                <c:formatCode>General</c:formatCode>
                <c:ptCount val="9"/>
                <c:pt idx="0">
                  <c:v>141.61167703137386</c:v>
                </c:pt>
                <c:pt idx="2">
                  <c:v>137.91068802972151</c:v>
                </c:pt>
                <c:pt idx="3">
                  <c:v>138.59592156556377</c:v>
                </c:pt>
                <c:pt idx="4">
                  <c:v>136.76639968488345</c:v>
                </c:pt>
                <c:pt idx="5">
                  <c:v>138.09152826786655</c:v>
                </c:pt>
                <c:pt idx="7">
                  <c:v>137.84113438700882</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4994221979720004</c:v>
                </c:pt>
                <c:pt idx="2">
                  <c:v>1.4998227903813488</c:v>
                </c:pt>
                <c:pt idx="3">
                  <c:v>1.5051303986606954</c:v>
                </c:pt>
                <c:pt idx="4">
                  <c:v>1.5525754949787502</c:v>
                </c:pt>
                <c:pt idx="6">
                  <c:v>1.5525754949787502</c:v>
                </c:pt>
                <c:pt idx="7">
                  <c:v>1.5526188800902907</c:v>
                </c:pt>
                <c:pt idx="8">
                  <c:v>1.5526188800902907</c:v>
                </c:pt>
                <c:pt idx="9">
                  <c:v>1.6283810232612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4994221979720004</c:v>
                </c:pt>
                <c:pt idx="5">
                  <c:v>1.5525754949787502</c:v>
                </c:pt>
                <c:pt idx="10">
                  <c:v>1.6283810232612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4.0059240934848563E-4</c:v>
                </c:pt>
                <c:pt idx="2">
                  <c:v>5.3076082793465703E-3</c:v>
                </c:pt>
                <c:pt idx="3">
                  <c:v>4.7445096318054811E-2</c:v>
                </c:pt>
                <c:pt idx="6">
                  <c:v>6.0658837978568708E-4</c:v>
                </c:pt>
                <c:pt idx="8">
                  <c:v>7.5762143170909527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5.6320326824530408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101264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0.1012640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4994221979720004</c:v>
                </c:pt>
                <c:pt idx="5">
                  <c:v>1.5525754949787502</c:v>
                </c:pt>
                <c:pt idx="10">
                  <c:v>1.7296450232612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Bewoonde oorden 1930</c:v>
                </c:pt>
                <c:pt idx="4">
                  <c:v>Klantenpotentieel regionaal</c:v>
                </c:pt>
                <c:pt idx="5">
                  <c:v>Omgevingsadressendichtheid</c:v>
                </c:pt>
                <c:pt idx="6">
                  <c:v>Bedrijfsvestigingen</c:v>
                </c:pt>
                <c:pt idx="7">
                  <c:v>Land</c:v>
                </c:pt>
                <c:pt idx="8">
                  <c:v>Minderheden</c:v>
                </c:pt>
                <c:pt idx="9">
                  <c:v>Minderheden (drempel)</c:v>
                </c:pt>
                <c:pt idx="10">
                  <c:v>Overig</c:v>
                </c:pt>
              </c:strCache>
            </c:strRef>
          </c:cat>
          <c:val>
            <c:numRef>
              <c:f>Sheet1!$B$2:$B$12</c:f>
              <c:numCache>
                <c:formatCode>General</c:formatCode>
                <c:ptCount val="11"/>
                <c:pt idx="0">
                  <c:v>1.00472803704</c:v>
                </c:pt>
                <c:pt idx="1">
                  <c:v>0.30851133040000006</c:v>
                </c:pt>
                <c:pt idx="2">
                  <c:v>0.28248488112000003</c:v>
                </c:pt>
                <c:pt idx="3">
                  <c:v>5.9094114560000008E-2</c:v>
                </c:pt>
                <c:pt idx="4">
                  <c:v>-3.3238472800000002E-2</c:v>
                </c:pt>
                <c:pt idx="5">
                  <c:v>-1.7074843858800003E-2</c:v>
                </c:pt>
                <c:pt idx="6">
                  <c:v>8.9619784800000005E-3</c:v>
                </c:pt>
                <c:pt idx="7">
                  <c:v>7.9875567200000022E-3</c:v>
                </c:pt>
                <c:pt idx="8">
                  <c:v>6.926441600000001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0.10126400000000001</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0.52884479999999989</c:v>
                </c:pt>
                <c:pt idx="1">
                  <c:v>-0.24923241616</c:v>
                </c:pt>
                <c:pt idx="2">
                  <c:v>-0.11243547700000002</c:v>
                </c:pt>
                <c:pt idx="3">
                  <c:v>-0.10088084300000001</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101953239157347</c:v>
                </c:pt>
                <c:pt idx="1">
                  <c:v>3.0258269750604212</c:v>
                </c:pt>
                <c:pt idx="2">
                  <c:v>3.185384151862638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8844000000000001E-2</c:v>
                </c:pt>
                <c:pt idx="1">
                  <c:v>5.3679009999999998</c:v>
                </c:pt>
                <c:pt idx="2">
                  <c:v>5.302584000000000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090393239157349</c:v>
                </c:pt>
                <c:pt idx="1">
                  <c:v>8.3937279750604219</c:v>
                </c:pt>
                <c:pt idx="2">
                  <c:v>8.487968151862638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23.468107135510412</cx:pt>
          <cx:pt idx="1">-0.93502995615999995</cx:pt>
          <cx:pt idx="2">22.533077179350411</cx:pt>
          <cx:pt idx="3">6.0965719999999983</cx:pt>
          <cx:pt idx="4">28.629649179350409</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Pekela</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Pekela is ca. 29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4008174213"/>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8,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6,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2,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0,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3,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Pekela is ca. 29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4050221806"/>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827947429"/>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1827480769"/>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23105993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0,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9,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Pekela is ca. 29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086556984"/>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44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4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4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9,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b-NO"/>
              <a:t>Per inwoner ontvangt Pekela ca. 2.344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816241207"/>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Pekela</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34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8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95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955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45265771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5367613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95242034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3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85740534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71546532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5633328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5695311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8028781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081091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5832021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85235992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426374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2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9529138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46279716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438038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8449347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71848395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84919651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0474826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10206385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9791939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50589798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25085318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6429063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7403317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07430103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13542884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1746260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76230611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66415092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23478610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6045477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97853344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241758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8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2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2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61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2201589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7007308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51700808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22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73657206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7347212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94898824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83682009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886567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969448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22200675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01320311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7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79722927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7100552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6134888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72708325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59333895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71692168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74831550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83638872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12381780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89189340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95612455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8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2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22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7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5423980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7811147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62400580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22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4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2019240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55338360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35398809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91024688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8836748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16323265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3159951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0929962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90830050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0715943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55069982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87380922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5863886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23169739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81823083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25908849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45976587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7142383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6556898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54268203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57250697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7213803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64743684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77067546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61565228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809793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66430707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7966528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8581572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5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7390797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64025957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6430984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54060596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06071417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10792844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4793166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235701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73579346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74699218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218044970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18224881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28649362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16927208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77854053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05651058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28080104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1541707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58770068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6511260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97711132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15975662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37340227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Pekela,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2523245934"/>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8,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69939874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7186167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13224194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14105962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36552434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2320939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5279664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64227202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2.24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21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59646351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3795996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8906626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1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1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5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4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8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50108083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44039064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3657669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16297408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00275441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Pekela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32787467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0,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9,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Pekela is ca. 29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35901509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44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4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4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45</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b-NO"/>
              <a:t>Per inwoner ontvangt Pekela ca. 2.344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3513963681"/>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Pekela</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12.214</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Hattem</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2.17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Voerendaal</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2.45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Grav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2.48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Opmeer</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1.779</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659918515"/>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Pekela</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34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95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955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Pekela</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2655335816"/>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3613248356"/>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Pekela,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689</Words>
  <Application>Microsoft Office PowerPoint</Application>
  <PresentationFormat>Widescreen</PresentationFormat>
  <Paragraphs>2186</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Pekela is ca. 29 mln (1/3)</vt:lpstr>
      <vt:lpstr>Totale uitkering voor Pekela is ca. 29 mln (2/3)</vt:lpstr>
      <vt:lpstr>Totale uitkering voor Pekela is ca. 29 mln (3/3)</vt:lpstr>
      <vt:lpstr>Per inwoner ontvangt Pekela ca. 2.344 euro</vt:lpstr>
      <vt:lpstr>Dit is ca. 955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Pekela is ca. 29 mln</vt:lpstr>
      <vt:lpstr>Per inwoner ontvangt Pekela ca. 2.344 euro</vt:lpstr>
      <vt:lpstr>Dit is ca. €955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5:58:57Z</dcterms:modified>
</cp:coreProperties>
</file>